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"/>
  </p:sldMasterIdLst>
  <p:notesMasterIdLst>
    <p:notesMasterId r:id="rId5"/>
  </p:notesMasterIdLst>
  <p:handoutMasterIdLst>
    <p:handoutMasterId r:id="rId6"/>
  </p:handoutMasterIdLst>
  <p:sldIdLst>
    <p:sldId id="946" r:id="rId4"/>
  </p:sldIdLst>
  <p:sldSz cx="12198350" cy="6858000"/>
  <p:notesSz cx="6858000" cy="9686925"/>
  <p:custDataLst>
    <p:custData r:id="rId1"/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531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 autoAdjust="0"/>
  </p:normalViewPr>
  <p:slideViewPr>
    <p:cSldViewPr snapToObjects="1" showGuides="1">
      <p:cViewPr varScale="1">
        <p:scale>
          <a:sx n="92" d="100"/>
          <a:sy n="92" d="100"/>
        </p:scale>
        <p:origin x="120" y="354"/>
      </p:cViewPr>
      <p:guideLst>
        <p:guide orient="horz" pos="210"/>
        <p:guide pos="531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3144" y="588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225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fik 34">
            <a:extLst>
              <a:ext uri="{FF2B5EF4-FFF2-40B4-BE49-F238E27FC236}">
                <a16:creationId xmlns:a16="http://schemas.microsoft.com/office/drawing/2014/main" id="{EAF96D44-708B-4175-B571-3FAC32991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02" t="-8519" r="19642" b="-1063"/>
          <a:stretch/>
        </p:blipFill>
        <p:spPr>
          <a:xfrm flipV="1">
            <a:off x="0" y="3670831"/>
            <a:ext cx="12198350" cy="3187169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EA120F00-B812-4AFB-A4FC-07736FFF8D95}"/>
              </a:ext>
            </a:extLst>
          </p:cNvPr>
          <p:cNvSpPr/>
          <p:nvPr userDrawn="1"/>
        </p:nvSpPr>
        <p:spPr bwMode="auto">
          <a:xfrm>
            <a:off x="627142" y="1628750"/>
            <a:ext cx="6264850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00439E-51C5-46B8-A38D-3F0FCD348204}"/>
              </a:ext>
            </a:extLst>
          </p:cNvPr>
          <p:cNvSpPr/>
          <p:nvPr userDrawn="1"/>
        </p:nvSpPr>
        <p:spPr bwMode="auto">
          <a:xfrm>
            <a:off x="7539335" y="1642123"/>
            <a:ext cx="4174828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01AC765-A943-428F-B898-DCB0BC107F24}"/>
              </a:ext>
            </a:extLst>
          </p:cNvPr>
          <p:cNvSpPr txBox="1"/>
          <p:nvPr userDrawn="1"/>
        </p:nvSpPr>
        <p:spPr>
          <a:xfrm>
            <a:off x="812876" y="1939200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 Case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F158AA7A-36F4-4883-B3BF-F4E07485D289}"/>
              </a:ext>
            </a:extLst>
          </p:cNvPr>
          <p:cNvSpPr txBox="1"/>
          <p:nvPr userDrawn="1"/>
        </p:nvSpPr>
        <p:spPr>
          <a:xfrm>
            <a:off x="7755359" y="1987538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allenges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7018A5BC-862C-47BF-9AFC-3AB111BF6724}"/>
              </a:ext>
            </a:extLst>
          </p:cNvPr>
          <p:cNvSpPr txBox="1"/>
          <p:nvPr userDrawn="1"/>
        </p:nvSpPr>
        <p:spPr>
          <a:xfrm>
            <a:off x="7755359" y="3599275"/>
            <a:ext cx="2375430" cy="294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enefits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ing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T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Restricted © Siemens AG 20XX</a:t>
            </a:r>
          </a:p>
        </p:txBody>
      </p:sp>
      <p:sp>
        <p:nvSpPr>
          <p:cNvPr id="64" name="cdtTextBox 12 Id17"/>
          <p:cNvSpPr txBox="1"/>
          <p:nvPr>
            <p:custDataLst>
              <p:tags r:id="rId30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YYYY-MM-DD</a:t>
            </a:r>
          </a:p>
        </p:txBody>
      </p:sp>
      <p:sp>
        <p:nvSpPr>
          <p:cNvPr id="65" name="cdtTextBox 11 Id18"/>
          <p:cNvSpPr txBox="1"/>
          <p:nvPr>
            <p:custDataLst>
              <p:tags r:id="rId3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r.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W3C </a:t>
            </a:r>
            <a:r>
              <a:rPr lang="en-US" noProof="0" dirty="0" err="1"/>
              <a:t>WoT</a:t>
            </a:r>
            <a:r>
              <a:rPr lang="en-US" noProof="0" dirty="0"/>
              <a:t> Open Day </a:t>
            </a:r>
            <a:br>
              <a:rPr lang="en-US" noProof="0" dirty="0"/>
            </a:br>
            <a:r>
              <a:rPr lang="en-US" noProof="0" dirty="0"/>
              <a:t>Demo Titl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6AA3F31-D45A-45B3-B393-253D8E35DFED}"/>
              </a:ext>
            </a:extLst>
          </p:cNvPr>
          <p:cNvSpPr txBox="1"/>
          <p:nvPr/>
        </p:nvSpPr>
        <p:spPr>
          <a:xfrm>
            <a:off x="626567" y="6237312"/>
            <a:ext cx="2880320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el.: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-Mail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335CE9A-DA43-4BF6-9543-284AC044609E}"/>
              </a:ext>
            </a:extLst>
          </p:cNvPr>
          <p:cNvSpPr txBox="1"/>
          <p:nvPr/>
        </p:nvSpPr>
        <p:spPr>
          <a:xfrm>
            <a:off x="807191" y="2334488"/>
            <a:ext cx="5556214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Your text here ..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FFBF9E0-D627-4DAE-8C59-541A64070B41}"/>
              </a:ext>
            </a:extLst>
          </p:cNvPr>
          <p:cNvSpPr/>
          <p:nvPr/>
        </p:nvSpPr>
        <p:spPr>
          <a:xfrm>
            <a:off x="710418" y="3389168"/>
            <a:ext cx="6099175" cy="6129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rgbClr val="00646E"/>
              </a:solidFill>
              <a:ea typeface="Arial Unicode MS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&lt;&lt; Insert picture (optional)&gt;&gt;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1F253ED-1923-4A19-9D19-107186E374C0}"/>
              </a:ext>
            </a:extLst>
          </p:cNvPr>
          <p:cNvSpPr txBox="1"/>
          <p:nvPr/>
        </p:nvSpPr>
        <p:spPr>
          <a:xfrm>
            <a:off x="7755359" y="2334448"/>
            <a:ext cx="3400379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Your text here …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73ED507-A889-4016-A643-B14727B26C9E}"/>
              </a:ext>
            </a:extLst>
          </p:cNvPr>
          <p:cNvSpPr txBox="1"/>
          <p:nvPr/>
        </p:nvSpPr>
        <p:spPr>
          <a:xfrm>
            <a:off x="7755358" y="3894138"/>
            <a:ext cx="3400379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Your text here …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1B1CF97F-87A2-4539-9069-9C109BE7387D}"/>
              </a:ext>
            </a:extLst>
          </p:cNvPr>
          <p:cNvSpPr/>
          <p:nvPr/>
        </p:nvSpPr>
        <p:spPr bwMode="auto">
          <a:xfrm>
            <a:off x="9556750" y="333375"/>
            <a:ext cx="2159000" cy="914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sert </a:t>
            </a:r>
            <a:r>
              <a:rPr lang="de-DE" sz="18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your</a:t>
            </a:r>
            <a:r>
              <a:rPr lang="de-DE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logo </a:t>
            </a:r>
            <a:r>
              <a:rPr lang="de-DE" sz="18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ere</a:t>
            </a: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9789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EE4P_STYLE_ID" val="0094a0fc-8a1b-4192-8ebf-9581f2ebffa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Präsentation3" id="{CA1D5123-D62E-41FE-B479-55DDD94175F0}" vid="{32D78D03-C58C-49CB-9A13-98C07ECF1448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/>
</file>

<file path=customXml/item2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2</Words>
  <Application>Microsoft Office PowerPoint</Application>
  <PresentationFormat>Benutzerdefiniert</PresentationFormat>
  <Paragraphs>10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4" baseType="lpstr">
      <vt:lpstr>Arial</vt:lpstr>
      <vt:lpstr>Wingdings</vt:lpstr>
      <vt:lpstr>Siemens 2017 – 16:9</vt:lpstr>
      <vt:lpstr>W3C WoT Open Day  Demo Title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, 44 pt  Subhead, Arial Regular, 22 pt Smart panel width can be freely chosen</dc:title>
  <dc:creator>Friedrich, Regina (CM TL IN)</dc:creator>
  <cp:lastModifiedBy>Wacker, Natascha (CT TIM RSQ SDR)</cp:lastModifiedBy>
  <cp:revision>22</cp:revision>
  <cp:lastPrinted>2017-05-16T13:00:22Z</cp:lastPrinted>
  <dcterms:created xsi:type="dcterms:W3CDTF">2019-05-20T09:02:38Z</dcterms:created>
  <dcterms:modified xsi:type="dcterms:W3CDTF">2019-05-22T09:5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</Properties>
</file>